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264" r:id="rId2"/>
    <p:sldId id="270" r:id="rId3"/>
    <p:sldId id="266" r:id="rId4"/>
    <p:sldId id="268" r:id="rId5"/>
    <p:sldId id="271" r:id="rId6"/>
    <p:sldId id="269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padia, Kunaal" initials="KK" lastIdx="1" clrIdx="0">
    <p:extLst>
      <p:ext uri="{19B8F6BF-5375-455C-9EA6-DF929625EA0E}">
        <p15:presenceInfo xmlns:p15="http://schemas.microsoft.com/office/powerpoint/2012/main" userId="S::kukapadia@deloitte.com::9a342d34-fb7d-4940-b541-8752c2dc3dc1" providerId="AD"/>
      </p:ext>
    </p:extLst>
  </p:cmAuthor>
  <p:cmAuthor id="2" name="Sharma, Surabhi" initials="SS" lastIdx="1" clrIdx="1">
    <p:extLst>
      <p:ext uri="{19B8F6BF-5375-455C-9EA6-DF929625EA0E}">
        <p15:presenceInfo xmlns:p15="http://schemas.microsoft.com/office/powerpoint/2012/main" userId="S::surasharma@deloitte.com::abd98662-1fd1-4fcd-baa2-91c8582f74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F8FD"/>
    <a:srgbClr val="EEF8DC"/>
    <a:srgbClr val="E9F4FB"/>
    <a:srgbClr val="F5F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62" d="100"/>
          <a:sy n="62" d="100"/>
        </p:scale>
        <p:origin x="79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9E5F39-D7A4-40F6-9AE7-C60A1F034B18}" type="datetimeFigureOut">
              <a:rPr lang="en-US" smtClean="0"/>
              <a:t>9/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132D41-F26B-4946-A3C2-5A7A7A96E4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832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512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659876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68699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73671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29840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63068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90009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4681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416119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7965911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236454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5431461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380928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0245839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8449357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666618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4833386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505599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108753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7625705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760736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114687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5956210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5079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7861845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4768051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0387181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0859991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84809896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34627709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65328402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6382586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5700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2916400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58197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349022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84792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2588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1138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44191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9625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7995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999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Firm Analysis Report</a:t>
            </a:r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6F304D-3933-78BE-426F-DBFEABA93B7C}"/>
              </a:ext>
            </a:extLst>
          </p:cNvPr>
          <p:cNvSpPr txBox="1"/>
          <p:nvPr/>
        </p:nvSpPr>
        <p:spPr bwMode="gray">
          <a:xfrm>
            <a:off x="1575371" y="2659559"/>
            <a:ext cx="9041258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{company}</a:t>
            </a:r>
          </a:p>
        </p:txBody>
      </p:sp>
    </p:spTree>
    <p:extLst>
      <p:ext uri="{BB962C8B-B14F-4D97-AF65-F5344CB8AC3E}">
        <p14:creationId xmlns:p14="http://schemas.microsoft.com/office/powerpoint/2010/main" val="122492645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49;p40">
            <a:extLst>
              <a:ext uri="{FF2B5EF4-FFF2-40B4-BE49-F238E27FC236}">
                <a16:creationId xmlns:a16="http://schemas.microsoft.com/office/drawing/2014/main" id="{D46570FB-DA79-B465-548B-A601B96F2110}"/>
              </a:ext>
            </a:extLst>
          </p:cNvPr>
          <p:cNvSpPr txBox="1">
            <a:spLocks/>
          </p:cNvSpPr>
          <p:nvPr/>
        </p:nvSpPr>
        <p:spPr>
          <a:xfrm>
            <a:off x="6144268" y="625168"/>
            <a:ext cx="3390150" cy="268684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ompany Inform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96DFAE5-8434-139E-0FF8-676FE847B0C4}"/>
              </a:ext>
            </a:extLst>
          </p:cNvPr>
          <p:cNvSpPr txBox="1"/>
          <p:nvPr/>
        </p:nvSpPr>
        <p:spPr>
          <a:xfrm>
            <a:off x="968170" y="1866605"/>
            <a:ext cx="33643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ompany Name: {c}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FB35AE-285C-33CD-454D-98B6EC0EC8DC}"/>
              </a:ext>
            </a:extLst>
          </p:cNvPr>
          <p:cNvSpPr txBox="1"/>
          <p:nvPr/>
        </p:nvSpPr>
        <p:spPr>
          <a:xfrm>
            <a:off x="970951" y="2489880"/>
            <a:ext cx="3361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ector: {s}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1838ED-B48E-60C7-24CD-C91409E9E263}"/>
              </a:ext>
            </a:extLst>
          </p:cNvPr>
          <p:cNvSpPr txBox="1"/>
          <p:nvPr/>
        </p:nvSpPr>
        <p:spPr>
          <a:xfrm>
            <a:off x="968169" y="3113155"/>
            <a:ext cx="33616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Industry: {</a:t>
            </a:r>
            <a:r>
              <a:rPr lang="en-US" sz="1200" dirty="0" err="1"/>
              <a:t>i</a:t>
            </a:r>
            <a:r>
              <a:rPr lang="en-US" sz="1200" dirty="0"/>
              <a:t>}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C0B9C7-D1CF-CD4E-7852-937437AE8FF7}"/>
              </a:ext>
            </a:extLst>
          </p:cNvPr>
          <p:cNvSpPr txBox="1"/>
          <p:nvPr/>
        </p:nvSpPr>
        <p:spPr>
          <a:xfrm>
            <a:off x="968170" y="3736430"/>
            <a:ext cx="336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ountry: {co}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723112-799B-8872-44AB-3ECC69FBD133}"/>
              </a:ext>
            </a:extLst>
          </p:cNvPr>
          <p:cNvSpPr txBox="1"/>
          <p:nvPr/>
        </p:nvSpPr>
        <p:spPr>
          <a:xfrm>
            <a:off x="968170" y="4359705"/>
            <a:ext cx="33616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ity: {ci}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03A6DB-229D-9F5F-235C-547DD8DC84F5}"/>
              </a:ext>
            </a:extLst>
          </p:cNvPr>
          <p:cNvSpPr txBox="1"/>
          <p:nvPr/>
        </p:nvSpPr>
        <p:spPr>
          <a:xfrm>
            <a:off x="968170" y="4982980"/>
            <a:ext cx="33615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umber of employees: {</a:t>
            </a:r>
            <a:r>
              <a:rPr lang="en-US" sz="1200" dirty="0" err="1"/>
              <a:t>ee</a:t>
            </a:r>
            <a:r>
              <a:rPr lang="en-US" sz="1200" dirty="0"/>
              <a:t>}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1C10D0-0A81-73D1-2AC1-7F033094599D}"/>
              </a:ext>
            </a:extLst>
          </p:cNvPr>
          <p:cNvSpPr txBox="1"/>
          <p:nvPr/>
        </p:nvSpPr>
        <p:spPr>
          <a:xfrm>
            <a:off x="968169" y="5606255"/>
            <a:ext cx="36861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Website: {w}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388E44-A4AB-AE42-431D-3815D8B1786B}"/>
              </a:ext>
            </a:extLst>
          </p:cNvPr>
          <p:cNvSpPr/>
          <p:nvPr/>
        </p:nvSpPr>
        <p:spPr bwMode="gray">
          <a:xfrm>
            <a:off x="5445304" y="1373172"/>
            <a:ext cx="5907641" cy="500351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</a:pPr>
            <a:r>
              <a:rPr lang="en-US" sz="1400" kern="0" dirty="0"/>
              <a:t>{summary}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81860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A81F3290-8A94-6828-EFC4-1C44B9B4E190}"/>
              </a:ext>
            </a:extLst>
          </p:cNvPr>
          <p:cNvSpPr txBox="1"/>
          <p:nvPr/>
        </p:nvSpPr>
        <p:spPr bwMode="gray">
          <a:xfrm>
            <a:off x="3048856" y="3246902"/>
            <a:ext cx="60977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{company}</a:t>
            </a:r>
          </a:p>
        </p:txBody>
      </p:sp>
    </p:spTree>
    <p:extLst>
      <p:ext uri="{BB962C8B-B14F-4D97-AF65-F5344CB8AC3E}">
        <p14:creationId xmlns:p14="http://schemas.microsoft.com/office/powerpoint/2010/main" val="317830267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304318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010287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741023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D9D60A4-7FEF-4394-BC40-395386A52B23}" vid="{30850DB0-321B-45CC-986F-67B0BBFB8DC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44</TotalTime>
  <Words>53</Words>
  <Application>Microsoft Office PowerPoint</Application>
  <PresentationFormat>Widescreen</PresentationFormat>
  <Paragraphs>13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Verdana</vt:lpstr>
      <vt:lpstr>Deloitte_US_Onscree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hani, Amogh</dc:creator>
  <cp:lastModifiedBy>Gautam, Sarthak</cp:lastModifiedBy>
  <cp:revision>71</cp:revision>
  <dcterms:created xsi:type="dcterms:W3CDTF">2021-07-19T10:11:13Z</dcterms:created>
  <dcterms:modified xsi:type="dcterms:W3CDTF">2023-09-05T06:2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7-19T10:11:13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c3faf5b0-6474-4c15-b5b8-eb6abc588f66</vt:lpwstr>
  </property>
  <property fmtid="{D5CDD505-2E9C-101B-9397-08002B2CF9AE}" pid="8" name="MSIP_Label_ea60d57e-af5b-4752-ac57-3e4f28ca11dc_ContentBits">
    <vt:lpwstr>0</vt:lpwstr>
  </property>
</Properties>
</file>